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099325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0784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hyperlink" Target="https://www.youtube.com/watch?v=57M9ZXBV2ck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hlinkClick r:id="rId2"/>
            <a:extLst>
              <a:ext uri="{FF2B5EF4-FFF2-40B4-BE49-F238E27FC236}">
                <a16:creationId xmlns:a16="http://schemas.microsoft.com/office/drawing/2014/main" id="{56926A6B-8432-400F-B8DF-8D7419FF4BF1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01" b="45999"/>
          <a:stretch/>
        </p:blipFill>
        <p:spPr>
          <a:xfrm>
            <a:off x="6934200" y="1371600"/>
            <a:ext cx="6121400" cy="5092700"/>
          </a:xfrm>
        </p:spPr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0 August 2021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Rebecca Ferguson, Hugh Jackman, </a:t>
            </a:r>
            <a:r>
              <a:rPr lang="en-US" dirty="0" err="1">
                <a:solidFill>
                  <a:schemeClr val="accent6"/>
                </a:solidFill>
              </a:rPr>
              <a:t>Thandiwe</a:t>
            </a:r>
            <a:r>
              <a:rPr lang="en-US" dirty="0">
                <a:solidFill>
                  <a:schemeClr val="accent6"/>
                </a:solidFill>
              </a:rPr>
              <a:t> Newton 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Lisa Joy (Feature debut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Inception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This new sci-fi thriller comes from Lisa Joy, one of the key minds behind the mind-bending </a:t>
            </a:r>
            <a:r>
              <a:rPr lang="en-US" i="1" dirty="0">
                <a:solidFill>
                  <a:schemeClr val="accent6"/>
                </a:solidFill>
              </a:rPr>
              <a:t>Westworld </a:t>
            </a:r>
            <a:r>
              <a:rPr lang="en-US" dirty="0">
                <a:solidFill>
                  <a:schemeClr val="accent6"/>
                </a:solidFill>
              </a:rPr>
              <a:t>series, and stars an incredible line-up featuring Hugh Jackman and Rebecca Ferguson (re-teaming after their box office smashing-turns in </a:t>
            </a:r>
            <a:r>
              <a:rPr lang="en-US" i="1" dirty="0">
                <a:solidFill>
                  <a:schemeClr val="accent6"/>
                </a:solidFill>
              </a:rPr>
              <a:t>The Greatest Showman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ABC1 Adults Index: 138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34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r>
              <a:rPr lang="en-GB" b="0" dirty="0"/>
              <a:t>A scientist discovers a way to relive your past and uses the technology to search for his long lost love.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reminiscenc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GB" sz="1400" dirty="0">
                <a:solidFill>
                  <a:schemeClr val="accent6"/>
                </a:solidFill>
              </a:rPr>
              <a:t>A new thriller from the minds behind </a:t>
            </a:r>
            <a:r>
              <a:rPr lang="en-GB" sz="1400" i="1" dirty="0">
                <a:solidFill>
                  <a:schemeClr val="accent6"/>
                </a:solidFill>
              </a:rPr>
              <a:t>Westworld</a:t>
            </a:r>
            <a:r>
              <a:rPr lang="en-GB" sz="1400" dirty="0">
                <a:solidFill>
                  <a:schemeClr val="accent6"/>
                </a:solidFill>
              </a:rPr>
              <a:t>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hlinkClick r:id="rId4"/>
              </a:rPr>
              <a:t>Plan your campaign</a:t>
            </a: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890355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20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reminiscence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3 2021</dc:title>
  <dc:creator/>
  <dc:description>reminiscence</dc:description>
  <cp:lastModifiedBy/>
  <cp:revision>1</cp:revision>
  <dcterms:created xsi:type="dcterms:W3CDTF">2019-03-25T11:13:20Z</dcterms:created>
  <dcterms:modified xsi:type="dcterms:W3CDTF">2021-07-07T10:43:52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3 2021</vt:lpwstr>
  </property>
  <property fmtid="{D5CDD505-2E9C-101B-9397-08002B2CF9AE}" pid="4" name="SlideDescription">
    <vt:lpwstr>reminiscence</vt:lpwstr>
  </property>
</Properties>
</file>